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21"/>
  </p:notesMasterIdLst>
  <p:handoutMasterIdLst>
    <p:handoutMasterId r:id="rId22"/>
  </p:handoutMasterIdLst>
  <p:sldIdLst>
    <p:sldId id="8825" r:id="rId5"/>
    <p:sldId id="1574" r:id="rId6"/>
    <p:sldId id="391" r:id="rId7"/>
    <p:sldId id="501" r:id="rId8"/>
    <p:sldId id="503" r:id="rId9"/>
    <p:sldId id="1571" r:id="rId10"/>
    <p:sldId id="346" r:id="rId11"/>
    <p:sldId id="478" r:id="rId12"/>
    <p:sldId id="519" r:id="rId13"/>
    <p:sldId id="316" r:id="rId14"/>
    <p:sldId id="8848" r:id="rId15"/>
    <p:sldId id="530" r:id="rId16"/>
    <p:sldId id="431" r:id="rId17"/>
    <p:sldId id="1573" r:id="rId18"/>
    <p:sldId id="529" r:id="rId19"/>
    <p:sldId id="8861" r:id="rId20"/>
  </p:sldIdLst>
  <p:sldSz cx="12192000" cy="6858000"/>
  <p:notesSz cx="6858000" cy="20288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7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0078D7"/>
    <a:srgbClr val="3366FF"/>
    <a:srgbClr val="0000FF"/>
    <a:srgbClr val="000000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D725AC-6E0F-4A6F-BCCD-1E7AEC84230D}" v="40" dt="2019-11-08T18:08:39.863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2" autoAdjust="0"/>
    <p:restoredTop sz="68221" autoAdjust="0"/>
  </p:normalViewPr>
  <p:slideViewPr>
    <p:cSldViewPr snapToGrid="0">
      <p:cViewPr varScale="1">
        <p:scale>
          <a:sx n="78" d="100"/>
          <a:sy n="78" d="100"/>
        </p:scale>
        <p:origin x="68" y="2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868" y="28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822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7013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29397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08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605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9909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239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6308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534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584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982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754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15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251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0D46A22-C55E-449F-AA2E-4C6A86A12471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4960D2B-763F-4A1B-9395-8972ED16B6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44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1968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34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93783" y="2249714"/>
            <a:ext cx="3921369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80700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93040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6356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F2C8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5161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2" r:id="rId3"/>
    <p:sldLayoutId id="2147483894" r:id="rId4"/>
    <p:sldLayoutId id="2147483895" r:id="rId5"/>
    <p:sldLayoutId id="2147483954" r:id="rId6"/>
    <p:sldLayoutId id="2147483989" r:id="rId7"/>
    <p:sldLayoutId id="2147483997" r:id="rId8"/>
    <p:sldLayoutId id="2147483998" r:id="rId9"/>
    <p:sldLayoutId id="2147483934" r:id="rId10"/>
    <p:sldLayoutId id="2147483999" r:id="rId11"/>
    <p:sldLayoutId id="214748400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gb/intune/setup-steps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docs.microsoft.com/en-us/power-bi/service-admin-mobile-intun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hyperlink" Target="https://docs.microsoft.com/en-us/office365/admin/create-groups/plan_for_groups_governance?view=o365-worldwide#control-who-can-create-office-365-groups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at to manag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831080" y="0"/>
            <a:ext cx="736092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20223" y="758432"/>
            <a:ext cx="38537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Mobile Device Management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app access control</a:t>
            </a:r>
          </a:p>
        </p:txBody>
      </p:sp>
      <p:sp>
        <p:nvSpPr>
          <p:cNvPr id="40" name="Rectangle 39"/>
          <p:cNvSpPr/>
          <p:nvPr/>
        </p:nvSpPr>
        <p:spPr>
          <a:xfrm>
            <a:off x="499952" y="729076"/>
            <a:ext cx="38826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Mobile B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dministra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14909" y="2478383"/>
            <a:ext cx="4067718" cy="1865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un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bile application management (MAM) capabilitie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control access to the data</a:t>
            </a:r>
            <a:endParaRPr lang="en-US" dirty="0">
              <a:solidFill>
                <a:prstClr val="white"/>
              </a:solidFill>
              <a:latin typeface="Calibri" panose="020F0502020204030204"/>
            </a:endParaRP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 data leakag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9059" y="1586391"/>
            <a:ext cx="2590476" cy="34761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08270" y="788502"/>
            <a:ext cx="1885714" cy="34285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4" t="20892" r="2692" b="14004"/>
          <a:stretch/>
        </p:blipFill>
        <p:spPr>
          <a:xfrm>
            <a:off x="5311588" y="3419183"/>
            <a:ext cx="7010720" cy="289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45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49473">
        <p:fade/>
      </p:transition>
    </mc:Choice>
    <mc:Fallback xmlns="">
      <p:transition spd="med" advTm="49473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o you want to manage mobile devices?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DA0EA3-28A7-4A18-996B-647822FFB9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Microsoft Intune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Other Mobile Application Management Tool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No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054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782">
        <p:fade/>
      </p:transition>
    </mc:Choice>
    <mc:Fallback xmlns="">
      <p:transition spd="med" advTm="33782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will be responsible for administering Power BI Mobil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058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16">
        <p:fade/>
      </p:transition>
    </mc:Choice>
    <mc:Fallback xmlns="">
      <p:transition spd="med" advTm="10016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arketplace Offering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2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900">
        <p:fade/>
      </p:transition>
    </mc:Choice>
    <mc:Fallback xmlns="">
      <p:transition spd="med" advTm="1190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831080" y="0"/>
            <a:ext cx="736092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15891" y="1109947"/>
            <a:ext cx="38826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PowerBI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dministra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30848" y="2859254"/>
            <a:ext cx="4067718" cy="2357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y and Account management 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criptions and license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ing groups and organization app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IT management, usage monitoring and admin porta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96000" y="482083"/>
            <a:ext cx="3722149" cy="627864"/>
            <a:chOff x="1975629" y="2049462"/>
            <a:chExt cx="3722149" cy="62786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5629" y="2061419"/>
              <a:ext cx="601102" cy="601102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545312" y="2049462"/>
              <a:ext cx="3152466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zure Active Directory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752825" y="1090883"/>
            <a:ext cx="314105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y Synchron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Domains and Accou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login branding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096000" y="2231691"/>
            <a:ext cx="2295796" cy="627864"/>
            <a:chOff x="6716230" y="3226002"/>
            <a:chExt cx="2295796" cy="62786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6230" y="3270802"/>
              <a:ext cx="538264" cy="53826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7254494" y="3226002"/>
              <a:ext cx="1757532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fice 365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752824" y="2859555"/>
            <a:ext cx="314105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Subscri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e Assign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Domains and Accou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752824" y="4563097"/>
            <a:ext cx="32024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Workspa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Ap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an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</a:p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Manage gatew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prstClr val="black"/>
                </a:solidFill>
                <a:latin typeface="Calibri" panose="020F0502020204030204"/>
              </a:rPr>
              <a:t>Premium Capacity Manag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B9F14D-9986-44A2-B821-7DA5217E16D4}"/>
              </a:ext>
            </a:extLst>
          </p:cNvPr>
          <p:cNvSpPr txBox="1"/>
          <p:nvPr/>
        </p:nvSpPr>
        <p:spPr>
          <a:xfrm>
            <a:off x="6634264" y="3894581"/>
            <a:ext cx="147335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 BI</a:t>
            </a:r>
          </a:p>
        </p:txBody>
      </p:sp>
      <p:pic>
        <p:nvPicPr>
          <p:cNvPr id="4" name="Picture 3" descr="A sign in the dark&#10;&#10;Description automatically generated">
            <a:extLst>
              <a:ext uri="{FF2B5EF4-FFF2-40B4-BE49-F238E27FC236}">
                <a16:creationId xmlns:a16="http://schemas.microsoft.com/office/drawing/2014/main" id="{084CC731-967C-484A-BA9D-858120DBE0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816" y="3762197"/>
            <a:ext cx="892632" cy="892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474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257">
        <p:fade/>
      </p:transition>
    </mc:Choice>
    <mc:Fallback xmlns="">
      <p:transition spd="med" advTm="4225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  <p:bldP spid="15" grpId="0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o you want to manage mobile devices?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E0E5A1-A557-4556-BB1A-1FB70666E0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513063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EDC30D"/>
                </a:solidFill>
              </a:rPr>
              <a:t>Microsoft Intun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t up</a:t>
            </a:r>
            <a:r>
              <a:rPr lang="en-GB" dirty="0">
                <a:solidFill>
                  <a:srgbClr val="EDC30D"/>
                </a:solidFill>
                <a:latin typeface="+mj-lt"/>
              </a:rPr>
              <a:t> Intun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Configure Power BI for use with </a:t>
            </a:r>
            <a:r>
              <a:rPr lang="en-GB" dirty="0">
                <a:solidFill>
                  <a:srgbClr val="EDC30D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une</a:t>
            </a:r>
            <a:endParaRPr lang="en-GB" dirty="0">
              <a:solidFill>
                <a:srgbClr val="EDC30D"/>
              </a:solidFill>
              <a:latin typeface="+mj-lt"/>
            </a:endParaRP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Get URL for iOS and/or Android application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Create Mobile Application Management policy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Create the application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Deploy the application</a:t>
            </a:r>
          </a:p>
          <a:p>
            <a:pPr marL="1062900" lvl="3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Install the application on appropriate devic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Other Mobile Application Management Tool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Confirm tool can be used to administer Power BI Mobil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Configure Power BI Mobile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DC30D"/>
                </a:solidFill>
                <a:latin typeface="+mj-lt"/>
              </a:rPr>
              <a:t>Install the application on appropriate devic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No</a:t>
            </a:r>
          </a:p>
          <a:p>
            <a:pPr marL="846900" lvl="2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EDC30D"/>
                </a:solidFill>
                <a:latin typeface="+mj-lt"/>
              </a:rPr>
              <a:t>No action required</a:t>
            </a:r>
            <a:endParaRPr lang="en-US" sz="24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45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831080" y="0"/>
            <a:ext cx="736092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15891" y="1109947"/>
            <a:ext cx="38826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PowerBI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dministra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30848" y="2859254"/>
            <a:ext cx="4067718" cy="2357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y and Account management 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criptions and license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ing groups and organization app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IT management, usage monitoring and admin porta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96000" y="482083"/>
            <a:ext cx="3722149" cy="627864"/>
            <a:chOff x="1975629" y="2049462"/>
            <a:chExt cx="3722149" cy="62786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5629" y="2061419"/>
              <a:ext cx="601102" cy="601102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2545312" y="2049462"/>
              <a:ext cx="3152466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zure Active Directory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752825" y="1090883"/>
            <a:ext cx="314105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y Synchron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Domains and Accou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login branding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6096000" y="2231691"/>
            <a:ext cx="2295796" cy="627864"/>
            <a:chOff x="6716230" y="3226002"/>
            <a:chExt cx="2295796" cy="62786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6230" y="3270802"/>
              <a:ext cx="538264" cy="53826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7254494" y="3226002"/>
              <a:ext cx="1757532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fice 365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752824" y="2859555"/>
            <a:ext cx="314105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Subscri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e Assign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Domains and Accou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752824" y="4563097"/>
            <a:ext cx="32024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Workspa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Ap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an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</a:t>
            </a:r>
          </a:p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Manage gatew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prstClr val="black"/>
                </a:solidFill>
                <a:latin typeface="Calibri" panose="020F0502020204030204"/>
              </a:rPr>
              <a:t>Premium Capacity Manage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B9F14D-9986-44A2-B821-7DA5217E16D4}"/>
              </a:ext>
            </a:extLst>
          </p:cNvPr>
          <p:cNvSpPr txBox="1"/>
          <p:nvPr/>
        </p:nvSpPr>
        <p:spPr>
          <a:xfrm>
            <a:off x="6634264" y="3894581"/>
            <a:ext cx="1473352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 BI</a:t>
            </a:r>
          </a:p>
        </p:txBody>
      </p:sp>
      <p:pic>
        <p:nvPicPr>
          <p:cNvPr id="4" name="Picture 3" descr="A sign in the dark&#10;&#10;Description automatically generated">
            <a:extLst>
              <a:ext uri="{FF2B5EF4-FFF2-40B4-BE49-F238E27FC236}">
                <a16:creationId xmlns:a16="http://schemas.microsoft.com/office/drawing/2014/main" id="{084CC731-967C-484A-BA9D-858120DBE0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816" y="3762197"/>
            <a:ext cx="892632" cy="892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70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0157">
        <p:fade/>
      </p:transition>
    </mc:Choice>
    <mc:Fallback xmlns="">
      <p:transition spd="med" advTm="8015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  <p:bldP spid="15" grpId="0"/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is responsible for creating security groups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F9055EE-BF72-4032-9D4A-A185D97814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Office 365 Administrator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Azure Active Directory Administrator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Support Team</a:t>
            </a:r>
            <a:endParaRPr lang="en-US" dirty="0">
              <a:solidFill>
                <a:srgbClr val="EDC30D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044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0651">
        <p:fade/>
      </p:transition>
    </mc:Choice>
    <mc:Fallback xmlns="">
      <p:transition spd="med" advTm="7065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Workspaces Creation Options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C86BC29-3586-4A61-A917-E831CDDB2B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6915659"/>
              </p:ext>
            </p:extLst>
          </p:nvPr>
        </p:nvGraphicFramePr>
        <p:xfrm>
          <a:off x="269241" y="1247073"/>
          <a:ext cx="11655840" cy="448563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43230">
                  <a:extLst>
                    <a:ext uri="{9D8B030D-6E8A-4147-A177-3AD203B41FA5}">
                      <a16:colId xmlns:a16="http://schemas.microsoft.com/office/drawing/2014/main" val="519669272"/>
                    </a:ext>
                  </a:extLst>
                </a:gridCol>
                <a:gridCol w="3186509">
                  <a:extLst>
                    <a:ext uri="{9D8B030D-6E8A-4147-A177-3AD203B41FA5}">
                      <a16:colId xmlns:a16="http://schemas.microsoft.com/office/drawing/2014/main" val="277234858"/>
                    </a:ext>
                  </a:extLst>
                </a:gridCol>
                <a:gridCol w="3088918">
                  <a:extLst>
                    <a:ext uri="{9D8B030D-6E8A-4147-A177-3AD203B41FA5}">
                      <a16:colId xmlns:a16="http://schemas.microsoft.com/office/drawing/2014/main" val="3973767849"/>
                    </a:ext>
                  </a:extLst>
                </a:gridCol>
                <a:gridCol w="3137183">
                  <a:extLst>
                    <a:ext uri="{9D8B030D-6E8A-4147-A177-3AD203B41FA5}">
                      <a16:colId xmlns:a16="http://schemas.microsoft.com/office/drawing/2014/main" val="1870900502"/>
                    </a:ext>
                  </a:extLst>
                </a:gridCol>
              </a:tblGrid>
              <a:tr h="645152">
                <a:tc>
                  <a:txBody>
                    <a:bodyPr/>
                    <a:lstStyle/>
                    <a:p>
                      <a:r>
                        <a:rPr lang="en-GB" sz="2000" dirty="0"/>
                        <a:t>Option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Pro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Con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Action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12664"/>
                  </a:ext>
                </a:extLst>
              </a:tr>
              <a:tr h="104216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Allow all users to create App Workspace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(Recommended)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effectLst/>
                          <a:latin typeface="+mj-lt"/>
                        </a:rPr>
                        <a:t>Can be created whenever required</a:t>
                      </a:r>
                      <a:endParaRPr lang="en-US" sz="1600" kern="1200" dirty="0">
                        <a:effectLst/>
                        <a:latin typeface="+mj-lt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sz="1600" kern="1200" dirty="0">
                        <a:effectLst/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effectLst/>
                          <a:latin typeface="+mj-lt"/>
                        </a:rPr>
                        <a:t>Can lead to lots of App workspaces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Monitor App Workspaces to identify unused workspaces and remo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792612"/>
                  </a:ext>
                </a:extLst>
              </a:tr>
              <a:tr h="163769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Restrict to specific group of individuals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Groups creation can be validated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Delay in requesting a new workspace to be created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fine List of approved individuals and approv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  <a:hlinkClick r:id="rId4"/>
                        </a:rPr>
                        <a:t>Restrict</a:t>
                      </a:r>
                      <a:r>
                        <a:rPr lang="en-GB" sz="1600" dirty="0">
                          <a:latin typeface="+mj-lt"/>
                        </a:rPr>
                        <a:t> group creation in O365 to above individua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Create Group request mechanis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Update Tenant Setting</a:t>
                      </a:r>
                    </a:p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onitor App Workspaces to identify unused workspaces and remo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2825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965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0854">
        <p:fade/>
      </p:transition>
    </mc:Choice>
    <mc:Fallback xmlns="">
      <p:transition spd="med" advTm="11085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When to create an App Workspaces - Recommended</a:t>
            </a:r>
            <a:endParaRPr lang="en-US" sz="40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C86BC29-3586-4A61-A917-E831CDDB2B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730782"/>
              </p:ext>
            </p:extLst>
          </p:nvPr>
        </p:nvGraphicFramePr>
        <p:xfrm>
          <a:off x="269240" y="1234374"/>
          <a:ext cx="11655839" cy="521382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752656">
                  <a:extLst>
                    <a:ext uri="{9D8B030D-6E8A-4147-A177-3AD203B41FA5}">
                      <a16:colId xmlns:a16="http://schemas.microsoft.com/office/drawing/2014/main" val="519669272"/>
                    </a:ext>
                  </a:extLst>
                </a:gridCol>
                <a:gridCol w="2267693">
                  <a:extLst>
                    <a:ext uri="{9D8B030D-6E8A-4147-A177-3AD203B41FA5}">
                      <a16:colId xmlns:a16="http://schemas.microsoft.com/office/drawing/2014/main" val="277234858"/>
                    </a:ext>
                  </a:extLst>
                </a:gridCol>
                <a:gridCol w="5635490">
                  <a:extLst>
                    <a:ext uri="{9D8B030D-6E8A-4147-A177-3AD203B41FA5}">
                      <a16:colId xmlns:a16="http://schemas.microsoft.com/office/drawing/2014/main" val="1870900502"/>
                    </a:ext>
                  </a:extLst>
                </a:gridCol>
              </a:tblGrid>
              <a:tr h="395358">
                <a:tc>
                  <a:txBody>
                    <a:bodyPr/>
                    <a:lstStyle/>
                    <a:p>
                      <a:r>
                        <a:rPr lang="en-GB" sz="2000" dirty="0"/>
                        <a:t>Option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How Many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Reason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12664"/>
                  </a:ext>
                </a:extLst>
              </a:tr>
              <a:tr h="82112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Develop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GB" sz="1600" kern="1200" dirty="0">
                          <a:effectLst/>
                          <a:latin typeface="+mj-lt"/>
                        </a:rPr>
                        <a:t>1</a:t>
                      </a:r>
                      <a:endParaRPr lang="en-US" sz="1600" kern="1200" dirty="0">
                        <a:effectLst/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All Reports / Dashboards can be developed in 1 loc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Collaborative development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792612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Tes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l Reports / Dashboards can be developed in 1 loc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ollaborative development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28252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QA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report category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Only 1 App can be created per Workspa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Need to test App experience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348448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I Team Production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report category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nly 1 App can be created per Workspa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eed to share with different audience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7410271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Business Self-Service Develop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1 per departm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Separate reports created by different departments</a:t>
                      </a:r>
                    </a:p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ollaborative development area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within a department</a:t>
                      </a:r>
                      <a:endParaRPr lang="en-GB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2617399"/>
                  </a:ext>
                </a:extLst>
              </a:tr>
              <a:tr h="783513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usiness Self-Service Production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 per report category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nly 1 App can be created per Workspa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eed to share with different audience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5444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02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019">
        <p:fade/>
      </p:transition>
    </mc:Choice>
    <mc:Fallback xmlns="">
      <p:transition spd="med" advTm="20019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en should workspaces be created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F9055EE-BF72-4032-9D4A-A185D97814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endParaRPr lang="en-US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75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6667">
        <p:fade/>
      </p:transition>
    </mc:Choice>
    <mc:Fallback xmlns="">
      <p:transition spd="med" advTm="4666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831080" y="0"/>
            <a:ext cx="736092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99952" y="729076"/>
            <a:ext cx="401621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Power BI Desktop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14909" y="2478383"/>
            <a:ext cx="406771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65" defTabSz="931776" fontAlgn="base">
              <a:lnSpc>
                <a:spcPct val="150000"/>
              </a:lnSpc>
              <a:spcAft>
                <a:spcPts val="600"/>
              </a:spcAft>
              <a:buClr>
                <a:srgbClr val="FFFFFF"/>
              </a:buClr>
              <a:defRPr/>
            </a:pPr>
            <a:r>
              <a:rPr lang="en-GB" dirty="0">
                <a:solidFill>
                  <a:prstClr val="white"/>
                </a:solidFill>
              </a:rPr>
              <a:t>Monthly Updates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from PowerBI.com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d deployment from IT</a:t>
            </a:r>
          </a:p>
          <a:p>
            <a:pPr marL="53965" marR="0" lvl="0" algn="l" defTabSz="931776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tabLst/>
              <a:defRPr/>
            </a:pPr>
            <a:r>
              <a:rPr lang="en-GB" dirty="0">
                <a:solidFill>
                  <a:prstClr val="white"/>
                </a:solidFill>
                <a:latin typeface="Calibri" panose="020F0502020204030204"/>
              </a:rPr>
              <a:t>Download from Windows St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E7A530D-EB61-448D-B8F6-5E2CA47AC3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815" y="438414"/>
            <a:ext cx="3600000" cy="2619048"/>
          </a:xfrm>
          <a:prstGeom prst="rect">
            <a:avLst/>
          </a:prstGeom>
        </p:spPr>
      </p:pic>
      <p:pic>
        <p:nvPicPr>
          <p:cNvPr id="12" name="Picture 11" descr="A screenshot of a computer&#10;&#10;Description generated with very high confidence">
            <a:extLst>
              <a:ext uri="{FF2B5EF4-FFF2-40B4-BE49-F238E27FC236}">
                <a16:creationId xmlns:a16="http://schemas.microsoft.com/office/drawing/2014/main" id="{F5273842-0212-4532-ACBE-B76D94DDC8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186" y="1762333"/>
            <a:ext cx="4761905" cy="3333334"/>
          </a:xfrm>
          <a:prstGeom prst="rect">
            <a:avLst/>
          </a:prstGeom>
        </p:spPr>
      </p:pic>
      <p:pic>
        <p:nvPicPr>
          <p:cNvPr id="9" name="Picture 8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F3A920DC-04FB-4923-9D46-07E4A8EED0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518" y="4830334"/>
            <a:ext cx="4892892" cy="147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53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46867">
        <p:fade/>
      </p:transition>
    </mc:Choice>
    <mc:Fallback xmlns="">
      <p:transition spd="med" advTm="46867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400" dirty="0"/>
              <a:t>How will you manage installing Power BI Desktop?</a:t>
            </a:r>
            <a:endParaRPr lang="en-US" sz="44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4E1F0-4605-471E-AFEE-B170212BF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652598"/>
              </p:ext>
            </p:extLst>
          </p:nvPr>
        </p:nvGraphicFramePr>
        <p:xfrm>
          <a:off x="269241" y="1247072"/>
          <a:ext cx="11655840" cy="5334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43230">
                  <a:extLst>
                    <a:ext uri="{9D8B030D-6E8A-4147-A177-3AD203B41FA5}">
                      <a16:colId xmlns:a16="http://schemas.microsoft.com/office/drawing/2014/main" val="519669272"/>
                    </a:ext>
                  </a:extLst>
                </a:gridCol>
                <a:gridCol w="3186509">
                  <a:extLst>
                    <a:ext uri="{9D8B030D-6E8A-4147-A177-3AD203B41FA5}">
                      <a16:colId xmlns:a16="http://schemas.microsoft.com/office/drawing/2014/main" val="277234858"/>
                    </a:ext>
                  </a:extLst>
                </a:gridCol>
                <a:gridCol w="3088918">
                  <a:extLst>
                    <a:ext uri="{9D8B030D-6E8A-4147-A177-3AD203B41FA5}">
                      <a16:colId xmlns:a16="http://schemas.microsoft.com/office/drawing/2014/main" val="3973767849"/>
                    </a:ext>
                  </a:extLst>
                </a:gridCol>
                <a:gridCol w="3137183">
                  <a:extLst>
                    <a:ext uri="{9D8B030D-6E8A-4147-A177-3AD203B41FA5}">
                      <a16:colId xmlns:a16="http://schemas.microsoft.com/office/drawing/2014/main" val="18709005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000" dirty="0"/>
                        <a:t>Option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Pro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Con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Action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12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200" dirty="0"/>
                        <a:t>Windows 10 Store (Recommended)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Updates automatically installed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Administrative privileges are not required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Download sizes are smaller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Can be integrated with an organization’s roll-out policies and available via Microsoft Store for Busines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Less controls than System Center Configuration Manager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Requires Windows 10.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Sign up for Store for Busine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Decide on whether to distribute through the Store or a management too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Configure Sto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Add Power BI App and allow access to relevant individua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 install Power BI Desktop from Microsoft Stor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7926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200" dirty="0"/>
                        <a:t>Manually download and install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>
                          <a:effectLst/>
                        </a:rPr>
                        <a:t>Timing controlled by the owner of the PC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Requires administrative right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User machines may be out of sync, leading to compatibility issue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Every update requires action by the owner of the PC. 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Make sure all relevant users are Admins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28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kern="1200" dirty="0">
                          <a:effectLst/>
                        </a:rPr>
                        <a:t>Organizational IT deployment tools such as Microsoft System Center Configuration Manager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The process is managed and handled by the organizational IT dept.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More complex.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 algn="l" defTabSz="91436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/>
                        <a:t>Create package</a:t>
                      </a:r>
                      <a:endParaRPr lang="en-US" sz="1200" kern="1200" dirty="0"/>
                    </a:p>
                    <a:p>
                      <a:pPr marL="285750" lvl="0" indent="-285750" algn="l" defTabSz="91436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/>
                        <a:t>Agree frequency for package updates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434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dirty="0"/>
                        <a:t>Install Power BI on a Virtual Machin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The process is managed and handled by the organizational IT dept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effectLst/>
                        </a:rPr>
                        <a:t>C</a:t>
                      </a:r>
                      <a:r>
                        <a:rPr lang="en-US" sz="1200" kern="1200" dirty="0">
                          <a:effectLst/>
                        </a:rPr>
                        <a:t>an easily updat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effectLst/>
                        </a:rPr>
                        <a:t>C</a:t>
                      </a:r>
                      <a:r>
                        <a:rPr lang="en-US" sz="1200" kern="1200" dirty="0">
                          <a:effectLst/>
                        </a:rPr>
                        <a:t>an install additional items, e.g. drivers, R / Python, if required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effectLst/>
                        </a:rPr>
                        <a:t>Offers the most control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Need to provision, monitor and manage a Virtual Machin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Request Virtual Machin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Build image for Virtual Machine, which includes required software and spec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Make user an admin to allow them to install new updates</a:t>
                      </a:r>
                      <a:endParaRPr lang="en-US" sz="12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562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309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079">
        <p:fade/>
      </p:transition>
    </mc:Choice>
    <mc:Fallback xmlns="">
      <p:transition spd="med" advTm="18079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 will users install drivers on their machines (if required)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DA0EA3-28A7-4A18-996B-647822FFB9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p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Manually Download and Install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Organizational IT deploymen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99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6088">
        <p:fade/>
      </p:transition>
    </mc:Choice>
    <mc:Fallback xmlns="">
      <p:transition spd="med" advTm="26088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4|8.6|4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6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5.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6|11.4|6.8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1B81260-9DE9-48EA-8B03-94041BA21227}"/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4</Words>
  <Application>Microsoft Office PowerPoint</Application>
  <PresentationFormat>Widescreen</PresentationFormat>
  <Paragraphs>188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PowerPoint Presentation</vt:lpstr>
      <vt:lpstr>Who is responsible for creating security groups?</vt:lpstr>
      <vt:lpstr>App Workspaces Creation Options</vt:lpstr>
      <vt:lpstr>When to create an App Workspaces - Recommended</vt:lpstr>
      <vt:lpstr>When should workspaces be created?</vt:lpstr>
      <vt:lpstr>PowerPoint Presentation</vt:lpstr>
      <vt:lpstr>How will you manage installing Power BI Desktop?</vt:lpstr>
      <vt:lpstr>How will users install drivers on their machines (if required)?</vt:lpstr>
      <vt:lpstr>PowerPoint Presentation</vt:lpstr>
      <vt:lpstr>Do you want to manage mobile devices?</vt:lpstr>
      <vt:lpstr>Who will be responsible for administering Power BI Mobile?</vt:lpstr>
      <vt:lpstr>Marketplace Offerings</vt:lpstr>
      <vt:lpstr>PowerPoint Presentation</vt:lpstr>
      <vt:lpstr>Do you want to manage mobile device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rvice Management</dc:title>
  <dc:creator/>
  <cp:lastModifiedBy/>
  <cp:revision>5</cp:revision>
  <dcterms:modified xsi:type="dcterms:W3CDTF">2019-11-08T18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8-02-21T14:09:56.9846562Z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AuthorIds_UIVersion_1536">
    <vt:lpwstr>10</vt:lpwstr>
  </property>
</Properties>
</file>